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sldIdLst>
    <p:sldId id="297" r:id="rId2"/>
    <p:sldId id="383" r:id="rId3"/>
    <p:sldId id="384" r:id="rId4"/>
    <p:sldId id="449" r:id="rId5"/>
    <p:sldId id="405" r:id="rId6"/>
    <p:sldId id="386" r:id="rId7"/>
    <p:sldId id="393" r:id="rId8"/>
    <p:sldId id="412" r:id="rId9"/>
    <p:sldId id="417" r:id="rId10"/>
    <p:sldId id="419" r:id="rId11"/>
    <p:sldId id="420" r:id="rId12"/>
    <p:sldId id="452" r:id="rId13"/>
    <p:sldId id="421" r:id="rId14"/>
    <p:sldId id="422" r:id="rId15"/>
    <p:sldId id="425" r:id="rId16"/>
    <p:sldId id="423" r:id="rId17"/>
    <p:sldId id="424" r:id="rId18"/>
    <p:sldId id="426" r:id="rId19"/>
    <p:sldId id="427" r:id="rId20"/>
    <p:sldId id="428" r:id="rId21"/>
    <p:sldId id="429" r:id="rId22"/>
    <p:sldId id="453" r:id="rId23"/>
    <p:sldId id="432" r:id="rId24"/>
    <p:sldId id="433" r:id="rId25"/>
    <p:sldId id="438" r:id="rId26"/>
    <p:sldId id="454" r:id="rId27"/>
    <p:sldId id="459" r:id="rId28"/>
    <p:sldId id="457" r:id="rId29"/>
    <p:sldId id="458" r:id="rId30"/>
    <p:sldId id="461" r:id="rId31"/>
    <p:sldId id="572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4" autoAdjust="0"/>
    <p:restoredTop sz="94162" autoAdjust="0"/>
  </p:normalViewPr>
  <p:slideViewPr>
    <p:cSldViewPr snapToGrid="0">
      <p:cViewPr varScale="1">
        <p:scale>
          <a:sx n="105" d="100"/>
          <a:sy n="105" d="100"/>
        </p:scale>
        <p:origin x="180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 predict warning about rank deficient matrices:</a:t>
            </a:r>
          </a:p>
          <a:p>
            <a:r>
              <a:rPr lang="en-US" dirty="0"/>
              <a:t>Rank of the matrix</a:t>
            </a:r>
            <a:r>
              <a:rPr lang="en-US" baseline="0" dirty="0"/>
              <a:t> is reduced since it throws out multi-collinear variables.  Often can be safely ignor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3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We’d ideally want a lower number relative to its coefficients.  In other words, the lower the better since it measures how much we can trust the coefficient relationship.  If the </a:t>
            </a:r>
            <a:r>
              <a:rPr lang="en-US" sz="1200" dirty="0" err="1"/>
              <a:t>std</a:t>
            </a:r>
            <a:r>
              <a:rPr lang="en-US" sz="1200" dirty="0"/>
              <a:t> error is more</a:t>
            </a:r>
            <a:r>
              <a:rPr lang="en-US" sz="1200" baseline="0" dirty="0"/>
              <a:t> than the coefficient you can’t really trust the coefficient since it could be positive or negative…the model couldn’t figure it out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179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-VALUE We want it to be far away from zero as this would indicate we could reject the null hypothesis - that is, we could declare a relationship between weight and price exist.   According to T, We are less confident about cylinder displacement (cc)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price’s relationship.  The signal of price isn’t really in the variable “cc” and is likely captu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weight and hp.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14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2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117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462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4/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4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4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4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4/20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4/20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4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4/20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4/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4/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4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4/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pic>
        <p:nvPicPr>
          <p:cNvPr id="21506" name="Picture 2" descr="Image result for shocked cat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151" y="1891467"/>
            <a:ext cx="3971248" cy="34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136973" y="1629298"/>
            <a:ext cx="3145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on’t shock the cat by having multi-collinearity.</a:t>
            </a:r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at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304523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 other wo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4577547"/>
            <a:ext cx="3458095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amp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esence of two or more predictor variables sharing the same linear relationship with the outcome variable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3543997"/>
            <a:ext cx="3458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o+ informative features are measuring essentially the same thing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5040292"/>
            <a:ext cx="345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predicting ice cream sales you include Fahrenheit and Celsius temperatures as two separate informative features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B1D592AA-17AC-774D-8119-5A393CA4C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156825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is susceptible to </a:t>
            </a:r>
            <a:r>
              <a:rPr lang="en-US" b="1" dirty="0">
                <a:solidFill>
                  <a:schemeClr val="accent1"/>
                </a:solidFill>
              </a:rPr>
              <a:t>multi-</a:t>
            </a:r>
            <a:r>
              <a:rPr lang="en-US" b="1" dirty="0" err="1">
                <a:solidFill>
                  <a:schemeClr val="accent1"/>
                </a:solidFill>
              </a:rPr>
              <a:t>colinearity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00397" y="1263542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hat happens with multi-collinearity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0397" y="2346973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good new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397" y="3629908"/>
            <a:ext cx="8503920" cy="4987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Best Practi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0397" y="1745677"/>
            <a:ext cx="8503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effect is exaggerated e.g. double counted.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97" y="284573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oblem is so prevalent/impactful that R’s linear regression function handles 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ther algorithms are not affected by double count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97" y="4092653"/>
            <a:ext cx="8503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en though R removes it, do not rely on the function.  Understanding the data you put in will avoid “garbage in, garbage out” scenarios.</a:t>
            </a:r>
          </a:p>
        </p:txBody>
      </p:sp>
      <p:pic>
        <p:nvPicPr>
          <p:cNvPr id="23556" name="Picture 4" descr="Image result for happy ca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32" y="4798220"/>
            <a:ext cx="1629294" cy="137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 rot="18951370">
            <a:off x="3042457" y="4971012"/>
            <a:ext cx="16278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Make happy cats by</a:t>
            </a:r>
          </a:p>
          <a:p>
            <a:pPr algn="ctr"/>
            <a:r>
              <a:rPr lang="en-US" sz="1400" dirty="0"/>
              <a:t> knowing your data.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71995084-0CA9-6D42-8B1A-615F443D0F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1934699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R, script 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9A8DC6-A5F2-4C44-B5E1-CC67188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381342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957" y="1483393"/>
            <a:ext cx="6315075" cy="4629150"/>
          </a:xfrm>
          <a:prstGeom prst="rect">
            <a:avLst/>
          </a:prstGeom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3B6EC10E-0713-A647-89AD-F2F2FABE0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87919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64276" y="4738255"/>
            <a:ext cx="6866313" cy="3310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67295" y="4315326"/>
            <a:ext cx="6866313" cy="25769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8" idx="6"/>
            <a:endCxn id="13" idx="2"/>
          </p:cNvCxnSpPr>
          <p:nvPr/>
        </p:nvCxnSpPr>
        <p:spPr>
          <a:xfrm flipV="1">
            <a:off x="7733608" y="2776451"/>
            <a:ext cx="313112" cy="1667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6"/>
            <a:endCxn id="13" idx="2"/>
          </p:cNvCxnSpPr>
          <p:nvPr/>
        </p:nvCxnSpPr>
        <p:spPr>
          <a:xfrm flipV="1">
            <a:off x="7830589" y="2776451"/>
            <a:ext cx="216131" cy="212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315200" y="2261062"/>
            <a:ext cx="1463040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to ID of multi </a:t>
            </a:r>
            <a:r>
              <a:rPr lang="en-US" sz="1200" dirty="0" err="1"/>
              <a:t>colinearity</a:t>
            </a:r>
            <a:endParaRPr lang="en-US" sz="1200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334BB452-FA0D-474F-9C83-B1E1F41EE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71053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47" y="1355057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604084" y="2011680"/>
            <a:ext cx="3168316" cy="249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945178"/>
            <a:ext cx="3506805" cy="6317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AD23BDEA-A70E-C341-89CB-E01AE32EB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915" y="1306930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3064042" y="2011680"/>
            <a:ext cx="4882925" cy="1936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80" y="2826327"/>
            <a:ext cx="1966762" cy="224297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1546694E-9D07-014F-9337-9E1709134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4344780" y="2011680"/>
            <a:ext cx="3602187" cy="1689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114502" y="2537569"/>
            <a:ext cx="1230278" cy="232756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DEF1774D-7B2F-764C-8342-3A2A433C4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165558" y="2438400"/>
            <a:ext cx="2399024" cy="12612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42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average amount that the coefficients vary from the actual average value of our response variable.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03032" y="2485943"/>
            <a:ext cx="962526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65D227B7-0814-9544-B047-9C1F84968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685375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cxnSp>
        <p:nvCxnSpPr>
          <p:cNvPr id="10" name="Straight Arrow Connector 9"/>
          <p:cNvCxnSpPr>
            <a:stCxn id="16" idx="3"/>
            <a:endCxn id="13" idx="2"/>
          </p:cNvCxnSpPr>
          <p:nvPr/>
        </p:nvCxnSpPr>
        <p:spPr>
          <a:xfrm flipV="1">
            <a:off x="5862368" y="2427316"/>
            <a:ext cx="1702214" cy="128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he coefficient t-value is a measure of how many standard deviations our coefficient estimate is far away from 0.  In another way, values away from 0 indicate a real relationship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30848" y="2501986"/>
            <a:ext cx="731520" cy="24273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8C65AE5-8B9A-D746-AE91-5E9B13934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9420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49" y="365126"/>
            <a:ext cx="8349095" cy="591477"/>
          </a:xfrm>
        </p:spPr>
        <p:txBody>
          <a:bodyPr/>
          <a:lstStyle/>
          <a:p>
            <a:r>
              <a:rPr lang="en-US" dirty="0"/>
              <a:t>Linear Regression for continuous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631767" y="5519650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1032A7D9-C4FC-1146-9EEB-11337D397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0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496291"/>
            <a:ext cx="2527069" cy="931025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The probability of seeing a value larger than the t value.</a:t>
            </a:r>
          </a:p>
          <a:p>
            <a:pPr algn="ctr"/>
            <a:r>
              <a:rPr lang="en-US" sz="1200" dirty="0"/>
              <a:t>Small p-values mean its less likely due to chance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Elbow Connector 8"/>
          <p:cNvCxnSpPr>
            <a:stCxn id="16" idx="3"/>
            <a:endCxn id="13" idx="3"/>
          </p:cNvCxnSpPr>
          <p:nvPr/>
        </p:nvCxnSpPr>
        <p:spPr>
          <a:xfrm flipV="1">
            <a:off x="7614458" y="1961804"/>
            <a:ext cx="1213658" cy="1719860"/>
          </a:xfrm>
          <a:prstGeom prst="bentConnector3">
            <a:avLst>
              <a:gd name="adj1" fmla="val 118836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54A954B-6362-5747-912F-EEB797EE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735593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114425"/>
            <a:ext cx="6315075" cy="46291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mmary of the F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01047" y="1280161"/>
            <a:ext cx="2527069" cy="1147156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s</a:t>
            </a:r>
          </a:p>
          <a:p>
            <a:pPr algn="ctr"/>
            <a:r>
              <a:rPr lang="en-US" sz="1200" dirty="0"/>
              <a:t>In stats p &lt;0.05 is good but in business I have seen p&lt;0.2.</a:t>
            </a:r>
          </a:p>
          <a:p>
            <a:pPr algn="ctr"/>
            <a:r>
              <a:rPr lang="en-US" sz="1200" dirty="0"/>
              <a:t>It’s a good idea to rebuild a model without variables that do not meet the cutoff.</a:t>
            </a:r>
          </a:p>
        </p:txBody>
      </p:sp>
      <p:cxnSp>
        <p:nvCxnSpPr>
          <p:cNvPr id="9" name="Elbow Connector 8"/>
          <p:cNvCxnSpPr>
            <a:stCxn id="11" idx="3"/>
            <a:endCxn id="13" idx="3"/>
          </p:cNvCxnSpPr>
          <p:nvPr/>
        </p:nvCxnSpPr>
        <p:spPr>
          <a:xfrm flipV="1">
            <a:off x="7614458" y="1853739"/>
            <a:ext cx="1213658" cy="1827925"/>
          </a:xfrm>
          <a:prstGeom prst="bentConnector3">
            <a:avLst>
              <a:gd name="adj1" fmla="val 1188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5759116" y="2518611"/>
            <a:ext cx="1855342" cy="232610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C6D381-AD02-C742-899A-CB82C6B04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7687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the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44A385-5F86-6A42-BA4C-E9132354FB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9152540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9" y="5303520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score and time to predict are all impacted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CA807167-92BA-9C47-8FAE-FAE64B31C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3512" y="1097630"/>
            <a:ext cx="6276975" cy="418147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6301047" y="1148317"/>
            <a:ext cx="2527069" cy="10494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-</a:t>
            </a:r>
            <a:r>
              <a:rPr lang="en-US" sz="1100" dirty="0" err="1"/>
              <a:t>Sq</a:t>
            </a:r>
            <a:r>
              <a:rPr lang="en-US" sz="1100" dirty="0"/>
              <a:t>: how much of the variation are the model is fitting. R-</a:t>
            </a:r>
            <a:r>
              <a:rPr lang="en-US" sz="1100" dirty="0" err="1"/>
              <a:t>Sq</a:t>
            </a:r>
            <a:r>
              <a:rPr lang="en-US" sz="1100" dirty="0"/>
              <a:t>  measures the linear relationship between Price &amp; features </a:t>
            </a:r>
            <a:r>
              <a:rPr lang="en-US" altLang="en-US" sz="1100" dirty="0"/>
              <a:t>It always lies between 0 and 1 </a:t>
            </a:r>
          </a:p>
          <a:p>
            <a:pPr algn="ctr"/>
            <a:r>
              <a:rPr lang="en-US" sz="1100" dirty="0"/>
              <a:t>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379621" y="4940966"/>
            <a:ext cx="4828674" cy="1764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Elbow Connector 9"/>
          <p:cNvCxnSpPr>
            <a:stCxn id="9" idx="3"/>
            <a:endCxn id="8" idx="3"/>
          </p:cNvCxnSpPr>
          <p:nvPr/>
        </p:nvCxnSpPr>
        <p:spPr>
          <a:xfrm flipV="1">
            <a:off x="6208295" y="1673043"/>
            <a:ext cx="2619821" cy="3356156"/>
          </a:xfrm>
          <a:prstGeom prst="bentConnector3">
            <a:avLst>
              <a:gd name="adj1" fmla="val 1087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C3444DF-7ADD-EC4E-9B1F-D0667D3EE5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8576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12" y="3881437"/>
            <a:ext cx="8006269" cy="80486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t can be said that both models explain ~87% of the variation in car prices.  Dropping the variables improved accuracy and reinforces the fact that the variables didn’t add value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502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6801853" y="2358189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713621" y="409875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674" y="2190750"/>
            <a:ext cx="8086725" cy="742950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6851733" y="2379495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13EE7097-FFEF-F148-8B51-7DCC45D6B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557804"/>
              </p:ext>
            </p:extLst>
          </p:nvPr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386806"/>
              </p:ext>
            </p:extLst>
          </p:nvPr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05170"/>
              </p:ext>
            </p:extLst>
          </p:nvPr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03271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equation capture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4D18A85C-83E2-9643-9A92-3F05F2D79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 to script 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pic>
        <p:nvPicPr>
          <p:cNvPr id="29698" name="Picture 2" descr="Image result for car salesma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386" y="1764464"/>
            <a:ext cx="4762500" cy="37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97306" y="1764631"/>
            <a:ext cx="3015916" cy="593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good is Dale’s model?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FDCE6B2-0B24-D046-9D4E-36EB93C6F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125882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Data Mining Tool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pic>
        <p:nvPicPr>
          <p:cNvPr id="31746" name="Picture 2" descr="Image result for toolbox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337" y="1395413"/>
            <a:ext cx="3087363" cy="365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651" y="1714500"/>
            <a:ext cx="52387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revious Le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R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Data Prepa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Visualization</a:t>
            </a:r>
          </a:p>
          <a:p>
            <a:endParaRPr lang="en-US" dirty="0"/>
          </a:p>
          <a:p>
            <a:r>
              <a:rPr lang="en-US" u="sng" dirty="0"/>
              <a:t>After to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predict continuous business outcomes using linear regress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5334000"/>
            <a:ext cx="8553450" cy="990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 is an initial starting algorithm. It puts you on a path to more complex machine learning but more importantly you can start to frame business problems in terms algorithms can understand. </a:t>
            </a:r>
          </a:p>
        </p:txBody>
      </p:sp>
      <p:pic>
        <p:nvPicPr>
          <p:cNvPr id="31750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2" y="20240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332" y="227171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732" y="25574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932" y="2824163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902" y="3960145"/>
            <a:ext cx="301466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A3257694-CBCA-0A4F-BFA8-7C59569A3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796591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7948366" cy="1884473"/>
            <a:chOff x="629493" y="1419881"/>
            <a:chExt cx="794836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 xmlns=""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760466" cy="504600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992" b="-963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201177"/>
              </p:ext>
            </p:extLst>
          </p:nvPr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880DB6DC-FCE8-CE44-AE80-033C1388F4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203349" y="206733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rors between a prediction and actu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some are negative and some are positive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277080" y="2219861"/>
            <a:ext cx="0" cy="276849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3016518" y="2296482"/>
            <a:ext cx="9896" cy="1019212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2948451" y="2195886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755672" y="4530173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12897" y="4244340"/>
            <a:ext cx="9277" cy="299861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98EE999-AC42-3349-9B80-3ABD0906B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is really going 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100" y="1081289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6007" y="5203768"/>
            <a:ext cx="8512233" cy="9642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24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24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79172D24-5321-474F-ACEA-E42E86E7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33541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C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  <a:defRPr/>
            </a:pPr>
            <a:r>
              <a:rPr lang="en-US" b="1">
                <a:latin typeface="Franklin Gothic Book" pitchFamily="34" charset="0"/>
              </a:rPr>
              <a:t>Goal: </a:t>
            </a:r>
            <a:r>
              <a:rPr lang="en-US">
                <a:latin typeface="Franklin Gothic Book" pitchFamily="34" charset="0"/>
              </a:rPr>
              <a:t>predict target values in other data where we have predictor values, but not target values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Classic data mining context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Model Goal: </a:t>
            </a:r>
            <a:r>
              <a:rPr lang="en-US" b="1">
                <a:latin typeface="Franklin Gothic Book" pitchFamily="34" charset="0"/>
              </a:rPr>
              <a:t>Optimize predictive accuracy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Train model on training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Assess performance on validation (hold-out) data</a:t>
            </a:r>
          </a:p>
          <a:p>
            <a:pPr>
              <a:defRPr/>
            </a:pPr>
            <a:r>
              <a:rPr lang="en-US">
                <a:latin typeface="Franklin Gothic Book" pitchFamily="34" charset="0"/>
              </a:rPr>
              <a:t>Explaining role of predictors is not primary purpose (but useful)</a:t>
            </a:r>
            <a:endParaRPr lang="en-US" dirty="0">
              <a:latin typeface="Franklin Gothic Book" pitchFamily="34" charset="0"/>
            </a:endParaRP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4A0423-B2D5-1646-86F9-1D8CF70D46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758743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4/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79817" y="1413163"/>
            <a:ext cx="4364183" cy="406630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Pric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Euro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Tires</a:t>
            </a:r>
            <a:r>
              <a:rPr lang="en-US" altLang="en-US" sz="2000" dirty="0">
                <a:latin typeface="Franklin Gothic Book" panose="020B0503020102020204" pitchFamily="34" charset="0"/>
              </a:rPr>
              <a:t> binary 0/1 are new tires on car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ge</a:t>
            </a:r>
            <a:r>
              <a:rPr lang="en-US" altLang="en-US" sz="2000" dirty="0">
                <a:latin typeface="Franklin Gothic Book" panose="020B0503020102020204" pitchFamily="34" charset="0"/>
              </a:rPr>
              <a:t> in months as of</a:t>
            </a:r>
            <a:r>
              <a:rPr lang="en-US" altLang="en-US" sz="2000" i="1" dirty="0">
                <a:latin typeface="Franklin Gothic Book" panose="020B0503020102020204" pitchFamily="34" charset="0"/>
              </a:rPr>
              <a:t> </a:t>
            </a:r>
            <a:r>
              <a:rPr lang="en-US" altLang="en-US" sz="2000" dirty="0">
                <a:latin typeface="Franklin Gothic Book" panose="020B0503020102020204" pitchFamily="34" charset="0"/>
              </a:rPr>
              <a:t>8/04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KM</a:t>
            </a:r>
            <a:r>
              <a:rPr lang="en-US" altLang="en-US" sz="2000" dirty="0">
                <a:latin typeface="Franklin Gothic Book" panose="020B0503020102020204" pitchFamily="34" charset="0"/>
              </a:rPr>
              <a:t> (kilometers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Fuel Type </a:t>
            </a:r>
            <a:r>
              <a:rPr lang="en-US" altLang="en-US" sz="2000" dirty="0">
                <a:latin typeface="Franklin Gothic Book" panose="020B0503020102020204" pitchFamily="34" charset="0"/>
              </a:rPr>
              <a:t>(diesel, petrol, CNG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HP</a:t>
            </a:r>
            <a:r>
              <a:rPr lang="en-US" altLang="en-US" sz="2000" dirty="0">
                <a:latin typeface="Franklin Gothic Book" panose="020B0503020102020204" pitchFamily="34" charset="0"/>
              </a:rPr>
              <a:t> (horsepower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Metallic color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Automatic transmission </a:t>
            </a:r>
            <a:r>
              <a:rPr lang="en-US" altLang="en-US" sz="2000" dirty="0">
                <a:latin typeface="Franklin Gothic Book" panose="020B0503020102020204" pitchFamily="34" charset="0"/>
              </a:rPr>
              <a:t>(1=yes, 0=no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CC</a:t>
            </a:r>
            <a:r>
              <a:rPr lang="en-US" altLang="en-US" sz="2000" dirty="0">
                <a:latin typeface="Franklin Gothic Book" panose="020B0503020102020204" pitchFamily="34" charset="0"/>
              </a:rPr>
              <a:t> (cylinder volume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Doors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 err="1">
                <a:latin typeface="Franklin Gothic Book" panose="020B0503020102020204" pitchFamily="34" charset="0"/>
              </a:rPr>
              <a:t>Quarterly_Tax</a:t>
            </a:r>
            <a:r>
              <a:rPr lang="en-US" altLang="en-US" sz="2000" dirty="0">
                <a:latin typeface="Franklin Gothic Book" panose="020B0503020102020204" pitchFamily="34" charset="0"/>
              </a:rPr>
              <a:t> (road tax)</a:t>
            </a:r>
          </a:p>
          <a:p>
            <a:pPr>
              <a:buFont typeface="Wingdings 2" panose="05020102010507070707" pitchFamily="18" charset="2"/>
              <a:buNone/>
            </a:pPr>
            <a:r>
              <a:rPr lang="en-US" altLang="en-US" sz="2000" b="1" dirty="0">
                <a:latin typeface="Franklin Gothic Book" panose="020B0503020102020204" pitchFamily="34" charset="0"/>
              </a:rPr>
              <a:t>Weight</a:t>
            </a:r>
            <a:r>
              <a:rPr lang="en-US" altLang="en-US" sz="2000" dirty="0">
                <a:latin typeface="Franklin Gothic Book" panose="020B0503020102020204" pitchFamily="34" charset="0"/>
              </a:rPr>
              <a:t> (in kg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381" y="1163782"/>
            <a:ext cx="27163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D_oldCar.R</a:t>
            </a:r>
            <a:endParaRPr lang="en-US" sz="28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208547" y="1961804"/>
            <a:ext cx="4010527" cy="897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the preprocessing and partitioning code in your toolbox, create a linear model of Toyota prices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505497B-833F-C649-8126-B4C28DC5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272254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24</TotalTime>
  <Words>1526</Words>
  <Application>Microsoft Macintosh PowerPoint</Application>
  <PresentationFormat>On-screen Show (4:3)</PresentationFormat>
  <Paragraphs>339</Paragraphs>
  <Slides>3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Arial</vt:lpstr>
      <vt:lpstr>Calibri</vt:lpstr>
      <vt:lpstr>Calibri Light</vt:lpstr>
      <vt:lpstr>Cambria Math</vt:lpstr>
      <vt:lpstr>Franklin Gothic Book</vt:lpstr>
      <vt:lpstr>Open Sans</vt:lpstr>
      <vt:lpstr>Wingdings 2</vt:lpstr>
      <vt:lpstr>1_Office Theme</vt:lpstr>
      <vt:lpstr>think-cell Slide</vt:lpstr>
      <vt:lpstr>Regression</vt:lpstr>
      <vt:lpstr>Linear Regression for continuous outcomes</vt:lpstr>
      <vt:lpstr>The linear combination equation captures information</vt:lpstr>
      <vt:lpstr>PowerPoint Presentation</vt:lpstr>
      <vt:lpstr>What’s really going on?</vt:lpstr>
      <vt:lpstr>So what is really going on?</vt:lpstr>
      <vt:lpstr>Let’s Practice</vt:lpstr>
      <vt:lpstr>Predictive Modeling</vt:lpstr>
      <vt:lpstr>Let’s practice.</vt:lpstr>
      <vt:lpstr>Regression is susceptible to multi-colinearity</vt:lpstr>
      <vt:lpstr>Regression is susceptible to multi-colinearity</vt:lpstr>
      <vt:lpstr>Back to R, script D!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The Summary of the Fit</vt:lpstr>
      <vt:lpstr>Back to the script D</vt:lpstr>
      <vt:lpstr>Parsimonious Model</vt:lpstr>
      <vt:lpstr>Parsimonious Model</vt:lpstr>
      <vt:lpstr>Compare the two models</vt:lpstr>
      <vt:lpstr>Evaluating a Prediction Model</vt:lpstr>
      <vt:lpstr>RMSE</vt:lpstr>
      <vt:lpstr>RMSE</vt:lpstr>
      <vt:lpstr>MAPE</vt:lpstr>
      <vt:lpstr>Back to script D</vt:lpstr>
      <vt:lpstr>Your Data Mining Toolbox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Edward Kwartler</cp:lastModifiedBy>
  <cp:revision>269</cp:revision>
  <dcterms:created xsi:type="dcterms:W3CDTF">2018-05-23T17:24:59Z</dcterms:created>
  <dcterms:modified xsi:type="dcterms:W3CDTF">2020-10-05T00:37:56Z</dcterms:modified>
</cp:coreProperties>
</file>